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F931E8-E324-4786-A91A-9DB725F1A875}" v="49" dt="2023-03-16T23:11:58.4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5EF931E8-E324-4786-A91A-9DB725F1A875}"/>
    <pc:docChg chg="modSld">
      <pc:chgData name="Roberto Gallardo" userId="49a044883f185952" providerId="LiveId" clId="{5EF931E8-E324-4786-A91A-9DB725F1A875}" dt="2023-03-16T23:12:08.585" v="305" actId="1036"/>
      <pc:docMkLst>
        <pc:docMk/>
      </pc:docMkLst>
      <pc:sldChg chg="addSp modSp mod">
        <pc:chgData name="Roberto Gallardo" userId="49a044883f185952" providerId="LiveId" clId="{5EF931E8-E324-4786-A91A-9DB725F1A875}" dt="2023-03-16T23:07:05.572" v="7" actId="1076"/>
        <pc:sldMkLst>
          <pc:docMk/>
          <pc:sldMk cId="1418533539" sldId="271"/>
        </pc:sldMkLst>
        <pc:picChg chg="add mod">
          <ac:chgData name="Roberto Gallardo" userId="49a044883f185952" providerId="LiveId" clId="{5EF931E8-E324-4786-A91A-9DB725F1A875}" dt="2023-03-16T23:07:05.572" v="7" actId="1076"/>
          <ac:picMkLst>
            <pc:docMk/>
            <pc:sldMk cId="1418533539" sldId="271"/>
            <ac:picMk id="6" creationId="{2EF64A74-4BAC-80AF-D25E-84E3C1496B71}"/>
          </ac:picMkLst>
        </pc:picChg>
      </pc:sldChg>
      <pc:sldChg chg="addSp modSp mod">
        <pc:chgData name="Roberto Gallardo" userId="49a044883f185952" providerId="LiveId" clId="{5EF931E8-E324-4786-A91A-9DB725F1A875}" dt="2023-03-16T23:08:52.959" v="111" actId="1035"/>
        <pc:sldMkLst>
          <pc:docMk/>
          <pc:sldMk cId="2124848710" sldId="281"/>
        </pc:sldMkLst>
        <pc:picChg chg="add mod">
          <ac:chgData name="Roberto Gallardo" userId="49a044883f185952" providerId="LiveId" clId="{5EF931E8-E324-4786-A91A-9DB725F1A875}" dt="2023-03-16T23:08:52.959" v="111" actId="1035"/>
          <ac:picMkLst>
            <pc:docMk/>
            <pc:sldMk cId="2124848710" sldId="281"/>
            <ac:picMk id="6" creationId="{C64EF54A-9ED0-1287-75B1-E8F65B738415}"/>
          </ac:picMkLst>
        </pc:picChg>
      </pc:sldChg>
      <pc:sldChg chg="addSp modSp mod">
        <pc:chgData name="Roberto Gallardo" userId="49a044883f185952" providerId="LiveId" clId="{5EF931E8-E324-4786-A91A-9DB725F1A875}" dt="2023-03-16T23:09:07.828" v="119" actId="1035"/>
        <pc:sldMkLst>
          <pc:docMk/>
          <pc:sldMk cId="2028175529" sldId="282"/>
        </pc:sldMkLst>
        <pc:picChg chg="add mod">
          <ac:chgData name="Roberto Gallardo" userId="49a044883f185952" providerId="LiveId" clId="{5EF931E8-E324-4786-A91A-9DB725F1A875}" dt="2023-03-16T23:09:07.828" v="119" actId="1035"/>
          <ac:picMkLst>
            <pc:docMk/>
            <pc:sldMk cId="2028175529" sldId="282"/>
            <ac:picMk id="7" creationId="{F8F2B194-A444-D74D-19A1-F0B631DEFAE6}"/>
          </ac:picMkLst>
        </pc:picChg>
      </pc:sldChg>
      <pc:sldChg chg="addSp modSp mod">
        <pc:chgData name="Roberto Gallardo" userId="49a044883f185952" providerId="LiveId" clId="{5EF931E8-E324-4786-A91A-9DB725F1A875}" dt="2023-03-16T23:09:23.254" v="141" actId="1035"/>
        <pc:sldMkLst>
          <pc:docMk/>
          <pc:sldMk cId="1326517747" sldId="283"/>
        </pc:sldMkLst>
        <pc:picChg chg="add mod">
          <ac:chgData name="Roberto Gallardo" userId="49a044883f185952" providerId="LiveId" clId="{5EF931E8-E324-4786-A91A-9DB725F1A875}" dt="2023-03-16T23:09:23.254" v="141" actId="1035"/>
          <ac:picMkLst>
            <pc:docMk/>
            <pc:sldMk cId="1326517747" sldId="283"/>
            <ac:picMk id="7" creationId="{83BC131B-082A-A88B-051B-6DBFD16DE5DA}"/>
          </ac:picMkLst>
        </pc:picChg>
      </pc:sldChg>
      <pc:sldChg chg="addSp modSp mod">
        <pc:chgData name="Roberto Gallardo" userId="49a044883f185952" providerId="LiveId" clId="{5EF931E8-E324-4786-A91A-9DB725F1A875}" dt="2023-03-16T23:09:40.511" v="153" actId="1036"/>
        <pc:sldMkLst>
          <pc:docMk/>
          <pc:sldMk cId="783739251" sldId="284"/>
        </pc:sldMkLst>
        <pc:picChg chg="add mod">
          <ac:chgData name="Roberto Gallardo" userId="49a044883f185952" providerId="LiveId" clId="{5EF931E8-E324-4786-A91A-9DB725F1A875}" dt="2023-03-16T23:09:40.511" v="153" actId="1036"/>
          <ac:picMkLst>
            <pc:docMk/>
            <pc:sldMk cId="783739251" sldId="284"/>
            <ac:picMk id="7" creationId="{96A3CB8D-E10D-21A9-A146-001E6B76994C}"/>
          </ac:picMkLst>
        </pc:picChg>
      </pc:sldChg>
      <pc:sldChg chg="addSp modSp mod">
        <pc:chgData name="Roberto Gallardo" userId="49a044883f185952" providerId="LiveId" clId="{5EF931E8-E324-4786-A91A-9DB725F1A875}" dt="2023-03-16T23:09:56.671" v="167" actId="1035"/>
        <pc:sldMkLst>
          <pc:docMk/>
          <pc:sldMk cId="1676122233" sldId="285"/>
        </pc:sldMkLst>
        <pc:picChg chg="add mod">
          <ac:chgData name="Roberto Gallardo" userId="49a044883f185952" providerId="LiveId" clId="{5EF931E8-E324-4786-A91A-9DB725F1A875}" dt="2023-03-16T23:09:56.671" v="167" actId="1035"/>
          <ac:picMkLst>
            <pc:docMk/>
            <pc:sldMk cId="1676122233" sldId="285"/>
            <ac:picMk id="7" creationId="{B8B43B71-C99D-5558-0F26-3ACC87A38B58}"/>
          </ac:picMkLst>
        </pc:picChg>
      </pc:sldChg>
      <pc:sldChg chg="addSp modSp mod">
        <pc:chgData name="Roberto Gallardo" userId="49a044883f185952" providerId="LiveId" clId="{5EF931E8-E324-4786-A91A-9DB725F1A875}" dt="2023-03-16T23:10:11.869" v="177" actId="1036"/>
        <pc:sldMkLst>
          <pc:docMk/>
          <pc:sldMk cId="3100398757" sldId="286"/>
        </pc:sldMkLst>
        <pc:picChg chg="add mod">
          <ac:chgData name="Roberto Gallardo" userId="49a044883f185952" providerId="LiveId" clId="{5EF931E8-E324-4786-A91A-9DB725F1A875}" dt="2023-03-16T23:10:11.869" v="177" actId="1036"/>
          <ac:picMkLst>
            <pc:docMk/>
            <pc:sldMk cId="3100398757" sldId="286"/>
            <ac:picMk id="7" creationId="{CAFD4962-3AC0-70A3-085F-AFC361C1115C}"/>
          </ac:picMkLst>
        </pc:picChg>
      </pc:sldChg>
      <pc:sldChg chg="addSp modSp mod">
        <pc:chgData name="Roberto Gallardo" userId="49a044883f185952" providerId="LiveId" clId="{5EF931E8-E324-4786-A91A-9DB725F1A875}" dt="2023-03-16T23:10:30.760" v="202" actId="1035"/>
        <pc:sldMkLst>
          <pc:docMk/>
          <pc:sldMk cId="1546475425" sldId="287"/>
        </pc:sldMkLst>
        <pc:picChg chg="add mod">
          <ac:chgData name="Roberto Gallardo" userId="49a044883f185952" providerId="LiveId" clId="{5EF931E8-E324-4786-A91A-9DB725F1A875}" dt="2023-03-16T23:10:30.760" v="202" actId="1035"/>
          <ac:picMkLst>
            <pc:docMk/>
            <pc:sldMk cId="1546475425" sldId="287"/>
            <ac:picMk id="7" creationId="{DB710EEE-0764-A5A4-898D-756FB9123BA3}"/>
          </ac:picMkLst>
        </pc:picChg>
      </pc:sldChg>
      <pc:sldChg chg="addSp modSp mod">
        <pc:chgData name="Roberto Gallardo" userId="49a044883f185952" providerId="LiveId" clId="{5EF931E8-E324-4786-A91A-9DB725F1A875}" dt="2023-03-16T23:11:02.639" v="219" actId="14100"/>
        <pc:sldMkLst>
          <pc:docMk/>
          <pc:sldMk cId="1380517306" sldId="288"/>
        </pc:sldMkLst>
        <pc:picChg chg="add mod">
          <ac:chgData name="Roberto Gallardo" userId="49a044883f185952" providerId="LiveId" clId="{5EF931E8-E324-4786-A91A-9DB725F1A875}" dt="2023-03-16T23:11:02.639" v="219" actId="14100"/>
          <ac:picMkLst>
            <pc:docMk/>
            <pc:sldMk cId="1380517306" sldId="288"/>
            <ac:picMk id="7" creationId="{44290B7D-0CE3-45D0-C5BA-FDAEA78972F3}"/>
          </ac:picMkLst>
        </pc:picChg>
      </pc:sldChg>
      <pc:sldChg chg="addSp modSp mod">
        <pc:chgData name="Roberto Gallardo" userId="49a044883f185952" providerId="LiveId" clId="{5EF931E8-E324-4786-A91A-9DB725F1A875}" dt="2023-03-16T23:11:20.845" v="247" actId="1036"/>
        <pc:sldMkLst>
          <pc:docMk/>
          <pc:sldMk cId="1388671151" sldId="289"/>
        </pc:sldMkLst>
        <pc:picChg chg="add mod">
          <ac:chgData name="Roberto Gallardo" userId="49a044883f185952" providerId="LiveId" clId="{5EF931E8-E324-4786-A91A-9DB725F1A875}" dt="2023-03-16T23:11:20.845" v="247" actId="1036"/>
          <ac:picMkLst>
            <pc:docMk/>
            <pc:sldMk cId="1388671151" sldId="289"/>
            <ac:picMk id="7" creationId="{363911F2-DB49-B978-34E2-BD93B774BB3F}"/>
          </ac:picMkLst>
        </pc:picChg>
      </pc:sldChg>
      <pc:sldChg chg="addSp modSp mod">
        <pc:chgData name="Roberto Gallardo" userId="49a044883f185952" providerId="LiveId" clId="{5EF931E8-E324-4786-A91A-9DB725F1A875}" dt="2023-03-16T23:11:52.523" v="281" actId="1035"/>
        <pc:sldMkLst>
          <pc:docMk/>
          <pc:sldMk cId="2355376039" sldId="290"/>
        </pc:sldMkLst>
        <pc:picChg chg="add mod">
          <ac:chgData name="Roberto Gallardo" userId="49a044883f185952" providerId="LiveId" clId="{5EF931E8-E324-4786-A91A-9DB725F1A875}" dt="2023-03-16T23:11:52.523" v="281" actId="1035"/>
          <ac:picMkLst>
            <pc:docMk/>
            <pc:sldMk cId="2355376039" sldId="290"/>
            <ac:picMk id="8" creationId="{B8D6BCFC-94B0-9B27-EF49-523E2F37696A}"/>
          </ac:picMkLst>
        </pc:picChg>
      </pc:sldChg>
      <pc:sldChg chg="addSp modSp mod">
        <pc:chgData name="Roberto Gallardo" userId="49a044883f185952" providerId="LiveId" clId="{5EF931E8-E324-4786-A91A-9DB725F1A875}" dt="2023-03-16T23:12:08.585" v="305" actId="1036"/>
        <pc:sldMkLst>
          <pc:docMk/>
          <pc:sldMk cId="3757257295" sldId="291"/>
        </pc:sldMkLst>
        <pc:picChg chg="add mod">
          <ac:chgData name="Roberto Gallardo" userId="49a044883f185952" providerId="LiveId" clId="{5EF931E8-E324-4786-A91A-9DB725F1A875}" dt="2023-03-16T23:12:08.585" v="305" actId="1036"/>
          <ac:picMkLst>
            <pc:docMk/>
            <pc:sldMk cId="3757257295" sldId="291"/>
            <ac:picMk id="8" creationId="{686EB27F-70D1-8303-A3F9-50801EC6CF35}"/>
          </ac:picMkLst>
        </pc:picChg>
      </pc:sldChg>
      <pc:sldChg chg="addSp modSp mod">
        <pc:chgData name="Roberto Gallardo" userId="49a044883f185952" providerId="LiveId" clId="{5EF931E8-E324-4786-A91A-9DB725F1A875}" dt="2023-03-16T23:10:44.739" v="212" actId="1036"/>
        <pc:sldMkLst>
          <pc:docMk/>
          <pc:sldMk cId="1259856727" sldId="292"/>
        </pc:sldMkLst>
        <pc:picChg chg="add mod">
          <ac:chgData name="Roberto Gallardo" userId="49a044883f185952" providerId="LiveId" clId="{5EF931E8-E324-4786-A91A-9DB725F1A875}" dt="2023-03-16T23:10:44.739" v="212" actId="1036"/>
          <ac:picMkLst>
            <pc:docMk/>
            <pc:sldMk cId="1259856727" sldId="292"/>
            <ac:picMk id="7" creationId="{069AEE95-B567-A463-2926-0774CAFEA147}"/>
          </ac:picMkLst>
        </pc:picChg>
      </pc:sldChg>
      <pc:sldChg chg="addSp modSp mod">
        <pc:chgData name="Roberto Gallardo" userId="49a044883f185952" providerId="LiveId" clId="{5EF931E8-E324-4786-A91A-9DB725F1A875}" dt="2023-03-16T23:08:38.248" v="94" actId="1035"/>
        <pc:sldMkLst>
          <pc:docMk/>
          <pc:sldMk cId="3324519687" sldId="293"/>
        </pc:sldMkLst>
        <pc:picChg chg="add mod">
          <ac:chgData name="Roberto Gallardo" userId="49a044883f185952" providerId="LiveId" clId="{5EF931E8-E324-4786-A91A-9DB725F1A875}" dt="2023-03-16T23:08:38.248" v="94" actId="1035"/>
          <ac:picMkLst>
            <pc:docMk/>
            <pc:sldMk cId="3324519687" sldId="293"/>
            <ac:picMk id="7" creationId="{08E7DDC2-20B0-D0A1-F085-14E2A2D691A2}"/>
          </ac:picMkLst>
        </pc:picChg>
      </pc:sldChg>
      <pc:sldChg chg="addSp modSp mod">
        <pc:chgData name="Roberto Gallardo" userId="49a044883f185952" providerId="LiveId" clId="{5EF931E8-E324-4786-A91A-9DB725F1A875}" dt="2023-03-16T23:07:59.923" v="40" actId="1036"/>
        <pc:sldMkLst>
          <pc:docMk/>
          <pc:sldMk cId="3256182630" sldId="295"/>
        </pc:sldMkLst>
        <pc:picChg chg="add mod">
          <ac:chgData name="Roberto Gallardo" userId="49a044883f185952" providerId="LiveId" clId="{5EF931E8-E324-4786-A91A-9DB725F1A875}" dt="2023-03-16T23:07:59.923" v="40" actId="1036"/>
          <ac:picMkLst>
            <pc:docMk/>
            <pc:sldMk cId="3256182630" sldId="295"/>
            <ac:picMk id="7" creationId="{7F0E6B98-799A-B7CE-838E-631137411555}"/>
          </ac:picMkLst>
        </pc:picChg>
      </pc:sldChg>
      <pc:sldChg chg="addSp modSp mod">
        <pc:chgData name="Roberto Gallardo" userId="49a044883f185952" providerId="LiveId" clId="{5EF931E8-E324-4786-A91A-9DB725F1A875}" dt="2023-03-16T23:08:22.540" v="73" actId="1036"/>
        <pc:sldMkLst>
          <pc:docMk/>
          <pc:sldMk cId="4057156843" sldId="296"/>
        </pc:sldMkLst>
        <pc:picChg chg="add mod">
          <ac:chgData name="Roberto Gallardo" userId="49a044883f185952" providerId="LiveId" clId="{5EF931E8-E324-4786-A91A-9DB725F1A875}" dt="2023-03-16T23:08:22.540" v="73" actId="1036"/>
          <ac:picMkLst>
            <pc:docMk/>
            <pc:sldMk cId="4057156843" sldId="296"/>
            <ac:picMk id="7" creationId="{485F9BD0-10EA-74D6-6E67-EA73A583D0F7}"/>
          </ac:picMkLst>
        </pc:picChg>
      </pc:sldChg>
      <pc:sldChg chg="addSp modSp mod">
        <pc:chgData name="Roberto Gallardo" userId="49a044883f185952" providerId="LiveId" clId="{5EF931E8-E324-4786-A91A-9DB725F1A875}" dt="2023-03-16T23:07:39.287" v="21" actId="1076"/>
        <pc:sldMkLst>
          <pc:docMk/>
          <pc:sldMk cId="2080110827" sldId="297"/>
        </pc:sldMkLst>
        <pc:picChg chg="add mod">
          <ac:chgData name="Roberto Gallardo" userId="49a044883f185952" providerId="LiveId" clId="{5EF931E8-E324-4786-A91A-9DB725F1A875}" dt="2023-03-16T23:07:39.287" v="21" actId="1076"/>
          <ac:picMkLst>
            <pc:docMk/>
            <pc:sldMk cId="2080110827" sldId="297"/>
            <ac:picMk id="6" creationId="{7DF15DC5-0A5C-AE36-6A92-F022F32357AB}"/>
          </ac:picMkLst>
        </pc:picChg>
      </pc:sldChg>
      <pc:sldChg chg="addSp modSp mod">
        <pc:chgData name="Roberto Gallardo" userId="49a044883f185952" providerId="LiveId" clId="{5EF931E8-E324-4786-A91A-9DB725F1A875}" dt="2023-03-16T23:07:19.291" v="14" actId="1076"/>
        <pc:sldMkLst>
          <pc:docMk/>
          <pc:sldMk cId="1532666867" sldId="298"/>
        </pc:sldMkLst>
        <pc:picChg chg="add mod">
          <ac:chgData name="Roberto Gallardo" userId="49a044883f185952" providerId="LiveId" clId="{5EF931E8-E324-4786-A91A-9DB725F1A875}" dt="2023-03-16T23:07:19.291" v="14" actId="1076"/>
          <ac:picMkLst>
            <pc:docMk/>
            <pc:sldMk cId="1532666867" sldId="298"/>
            <ac:picMk id="6" creationId="{1134646D-A9A7-7BBD-9B6B-B2546739A5B7}"/>
          </ac:picMkLst>
        </pc:picChg>
      </pc:sldChg>
      <pc:sldChg chg="addSp modSp mod">
        <pc:chgData name="Roberto Gallardo" userId="49a044883f185952" providerId="LiveId" clId="{5EF931E8-E324-4786-A91A-9DB725F1A875}" dt="2023-03-16T23:11:38.317" v="268" actId="1036"/>
        <pc:sldMkLst>
          <pc:docMk/>
          <pc:sldMk cId="1951376777" sldId="299"/>
        </pc:sldMkLst>
        <pc:picChg chg="add mod">
          <ac:chgData name="Roberto Gallardo" userId="49a044883f185952" providerId="LiveId" clId="{5EF931E8-E324-4786-A91A-9DB725F1A875}" dt="2023-03-16T23:11:38.317" v="268" actId="1036"/>
          <ac:picMkLst>
            <pc:docMk/>
            <pc:sldMk cId="1951376777" sldId="299"/>
            <ac:picMk id="7" creationId="{739EA9EC-3750-33E1-5140-711C2BEE9FD0}"/>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Wake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26CB787-2609-550B-0F37-6DEE58BA12DC}"/>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C6DB89A7-86D8-0C64-2736-B5874657059C}"/>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with medium confidence">
            <a:extLst>
              <a:ext uri="{FF2B5EF4-FFF2-40B4-BE49-F238E27FC236}">
                <a16:creationId xmlns:a16="http://schemas.microsoft.com/office/drawing/2014/main" id="{2EF64A74-4BAC-80AF-D25E-84E3C1496B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294" y="1028378"/>
            <a:ext cx="7597211" cy="5372422"/>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1134646D-A9A7-7BBD-9B6B-B2546739A5B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5638" y="1028700"/>
            <a:ext cx="7604523" cy="5377593"/>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Chart&#10;&#10;Description automatically generated with low confidence">
            <a:extLst>
              <a:ext uri="{FF2B5EF4-FFF2-40B4-BE49-F238E27FC236}">
                <a16:creationId xmlns:a16="http://schemas.microsoft.com/office/drawing/2014/main" id="{7DF15DC5-0A5C-AE36-6A92-F022F32357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D7DCD99-D9AD-A40B-3193-BDF226193027}"/>
              </a:ext>
            </a:extLst>
          </p:cNvPr>
          <p:cNvPicPr/>
          <p:nvPr/>
        </p:nvPicPr>
        <p:blipFill>
          <a:blip r:embed="rId2"/>
          <a:stretch>
            <a:fillRect/>
          </a:stretch>
        </p:blipFill>
        <p:spPr>
          <a:xfrm>
            <a:off x="152400" y="1788517"/>
            <a:ext cx="5301916" cy="3802385"/>
          </a:xfrm>
          <a:prstGeom prst="rect">
            <a:avLst/>
          </a:prstGeom>
        </p:spPr>
      </p:pic>
      <p:pic>
        <p:nvPicPr>
          <p:cNvPr id="7" name="Picture 6" descr="A picture containing chart&#10;&#10;Description automatically generated">
            <a:extLst>
              <a:ext uri="{FF2B5EF4-FFF2-40B4-BE49-F238E27FC236}">
                <a16:creationId xmlns:a16="http://schemas.microsoft.com/office/drawing/2014/main" id="{7F0E6B98-799A-B7CE-838E-6311374115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589"/>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A0A1616-F4AE-9112-C35F-309D11D163EF}"/>
              </a:ext>
            </a:extLst>
          </p:cNvPr>
          <p:cNvPicPr/>
          <p:nvPr/>
        </p:nvPicPr>
        <p:blipFill>
          <a:blip r:embed="rId2"/>
          <a:stretch>
            <a:fillRect/>
          </a:stretch>
        </p:blipFill>
        <p:spPr>
          <a:xfrm>
            <a:off x="152399" y="1798955"/>
            <a:ext cx="5308853" cy="3800656"/>
          </a:xfrm>
          <a:prstGeom prst="rect">
            <a:avLst/>
          </a:prstGeom>
        </p:spPr>
      </p:pic>
      <p:pic>
        <p:nvPicPr>
          <p:cNvPr id="7" name="Picture 6" descr="Schematic&#10;&#10;Description automatically generated with low confidence">
            <a:extLst>
              <a:ext uri="{FF2B5EF4-FFF2-40B4-BE49-F238E27FC236}">
                <a16:creationId xmlns:a16="http://schemas.microsoft.com/office/drawing/2014/main" id="{485F9BD0-10EA-74D6-6E67-EA73A583D0F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8327"/>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CC9A5591-0BA5-5940-0382-992190CB8970}"/>
              </a:ext>
            </a:extLst>
          </p:cNvPr>
          <p:cNvPicPr/>
          <p:nvPr/>
        </p:nvPicPr>
        <p:blipFill>
          <a:blip r:embed="rId2"/>
          <a:stretch>
            <a:fillRect/>
          </a:stretch>
        </p:blipFill>
        <p:spPr>
          <a:xfrm>
            <a:off x="152400" y="1777637"/>
            <a:ext cx="5289974" cy="3787140"/>
          </a:xfrm>
          <a:prstGeom prst="rect">
            <a:avLst/>
          </a:prstGeom>
        </p:spPr>
      </p:pic>
      <p:pic>
        <p:nvPicPr>
          <p:cNvPr id="7" name="Picture 6" descr="Diagram&#10;&#10;Description automatically generated">
            <a:extLst>
              <a:ext uri="{FF2B5EF4-FFF2-40B4-BE49-F238E27FC236}">
                <a16:creationId xmlns:a16="http://schemas.microsoft.com/office/drawing/2014/main" id="{08E7DDC2-20B0-D0A1-F085-14E2A2D691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6773"/>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F2B53BA-206D-118E-1E21-FDC2E7C9BEA2}"/>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C64EF54A-9ED0-1287-75B1-E8F65B7384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2895"/>
            <a:ext cx="6400800" cy="4526372"/>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64C6BE7-EE39-9AE7-0D14-5E2772AB4D74}"/>
              </a:ext>
            </a:extLst>
          </p:cNvPr>
          <p:cNvPicPr/>
          <p:nvPr/>
        </p:nvPicPr>
        <p:blipFill>
          <a:blip r:embed="rId2"/>
          <a:stretch>
            <a:fillRect/>
          </a:stretch>
        </p:blipFill>
        <p:spPr>
          <a:xfrm>
            <a:off x="152400" y="1791789"/>
            <a:ext cx="5298659" cy="3746863"/>
          </a:xfrm>
          <a:prstGeom prst="rect">
            <a:avLst/>
          </a:prstGeom>
        </p:spPr>
      </p:pic>
      <p:pic>
        <p:nvPicPr>
          <p:cNvPr id="7" name="Picture 6" descr="Diagram&#10;&#10;Description automatically generated">
            <a:extLst>
              <a:ext uri="{FF2B5EF4-FFF2-40B4-BE49-F238E27FC236}">
                <a16:creationId xmlns:a16="http://schemas.microsoft.com/office/drawing/2014/main" id="{F8F2B194-A444-D74D-19A1-F0B631DEFA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4439"/>
            <a:ext cx="6400631" cy="452625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26B8F19-D627-A93A-431A-A74423908B56}"/>
              </a:ext>
            </a:extLst>
          </p:cNvPr>
          <p:cNvPicPr/>
          <p:nvPr/>
        </p:nvPicPr>
        <p:blipFill>
          <a:blip r:embed="rId2"/>
          <a:stretch>
            <a:fillRect/>
          </a:stretch>
        </p:blipFill>
        <p:spPr>
          <a:xfrm>
            <a:off x="152400" y="1779904"/>
            <a:ext cx="5309500" cy="3807823"/>
          </a:xfrm>
          <a:prstGeom prst="rect">
            <a:avLst/>
          </a:prstGeom>
        </p:spPr>
      </p:pic>
      <p:pic>
        <p:nvPicPr>
          <p:cNvPr id="7" name="Picture 6" descr="Diagram, map&#10;&#10;Description automatically generated with medium confidence">
            <a:extLst>
              <a:ext uri="{FF2B5EF4-FFF2-40B4-BE49-F238E27FC236}">
                <a16:creationId xmlns:a16="http://schemas.microsoft.com/office/drawing/2014/main" id="{83BC131B-082A-A88B-051B-6DBFD16DE5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2893"/>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06C8B50-D93A-E6C4-3BF2-031E5221B3D7}"/>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96A3CB8D-E10D-21A9-A146-001E6B7699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431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10149CF-98D2-A927-1826-F3B965DBC0A1}"/>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B8B43B71-C99D-5558-0F26-3ACC87A38B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4320"/>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D3BB926-10D1-00BE-861C-4598F7430F7D}"/>
              </a:ext>
            </a:extLst>
          </p:cNvPr>
          <p:cNvPicPr/>
          <p:nvPr/>
        </p:nvPicPr>
        <p:blipFill>
          <a:blip r:embed="rId2"/>
          <a:stretch>
            <a:fillRect/>
          </a:stretch>
        </p:blipFill>
        <p:spPr>
          <a:xfrm>
            <a:off x="156535" y="1774372"/>
            <a:ext cx="5295900" cy="3798070"/>
          </a:xfrm>
          <a:prstGeom prst="rect">
            <a:avLst/>
          </a:prstGeom>
        </p:spPr>
      </p:pic>
      <p:pic>
        <p:nvPicPr>
          <p:cNvPr id="7" name="Picture 6" descr="Diagram&#10;&#10;Description automatically generated">
            <a:extLst>
              <a:ext uri="{FF2B5EF4-FFF2-40B4-BE49-F238E27FC236}">
                <a16:creationId xmlns:a16="http://schemas.microsoft.com/office/drawing/2014/main" id="{CAFD4962-3AC0-70A3-085F-AFC361C111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7244"/>
            <a:ext cx="6396665" cy="45234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1573BE5-2840-4B50-70F0-7BD73722E17E}"/>
              </a:ext>
            </a:extLst>
          </p:cNvPr>
          <p:cNvPicPr/>
          <p:nvPr/>
        </p:nvPicPr>
        <p:blipFill>
          <a:blip r:embed="rId2"/>
          <a:stretch>
            <a:fillRect/>
          </a:stretch>
        </p:blipFill>
        <p:spPr>
          <a:xfrm>
            <a:off x="152400" y="1774370"/>
            <a:ext cx="5309500" cy="3807823"/>
          </a:xfrm>
          <a:prstGeom prst="rect">
            <a:avLst/>
          </a:prstGeom>
        </p:spPr>
      </p:pic>
      <p:pic>
        <p:nvPicPr>
          <p:cNvPr id="7" name="Picture 6" descr="Diagram&#10;&#10;Description automatically generated">
            <a:extLst>
              <a:ext uri="{FF2B5EF4-FFF2-40B4-BE49-F238E27FC236}">
                <a16:creationId xmlns:a16="http://schemas.microsoft.com/office/drawing/2014/main" id="{DB710EEE-0764-A5A4-898D-756FB9123B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5103"/>
            <a:ext cx="6400800"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D586554E-895D-3A3C-86C2-2CF485E6E666}"/>
              </a:ext>
            </a:extLst>
          </p:cNvPr>
          <p:cNvPicPr/>
          <p:nvPr/>
        </p:nvPicPr>
        <p:blipFill>
          <a:blip r:embed="rId2"/>
          <a:stretch>
            <a:fillRect/>
          </a:stretch>
        </p:blipFill>
        <p:spPr>
          <a:xfrm>
            <a:off x="144255" y="1783083"/>
            <a:ext cx="5304045" cy="3799114"/>
          </a:xfrm>
          <a:prstGeom prst="rect">
            <a:avLst/>
          </a:prstGeom>
        </p:spPr>
      </p:pic>
      <p:pic>
        <p:nvPicPr>
          <p:cNvPr id="7" name="Picture 6" descr="Diagram, schematic&#10;&#10;Description automatically generated">
            <a:extLst>
              <a:ext uri="{FF2B5EF4-FFF2-40B4-BE49-F238E27FC236}">
                <a16:creationId xmlns:a16="http://schemas.microsoft.com/office/drawing/2014/main" id="{069AEE95-B567-A463-2926-0774CAFEA1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776"/>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6EC8134-99C7-E848-C0BD-D84CF4ECDD95}"/>
              </a:ext>
            </a:extLst>
          </p:cNvPr>
          <p:cNvPicPr/>
          <p:nvPr/>
        </p:nvPicPr>
        <p:blipFill>
          <a:blip r:embed="rId2"/>
          <a:stretch>
            <a:fillRect/>
          </a:stretch>
        </p:blipFill>
        <p:spPr>
          <a:xfrm>
            <a:off x="152400" y="1783082"/>
            <a:ext cx="5295901" cy="3798070"/>
          </a:xfrm>
          <a:prstGeom prst="rect">
            <a:avLst/>
          </a:prstGeom>
        </p:spPr>
      </p:pic>
      <p:pic>
        <p:nvPicPr>
          <p:cNvPr id="7" name="Picture 6" descr="Diagram, map&#10;&#10;Description automatically generated">
            <a:extLst>
              <a:ext uri="{FF2B5EF4-FFF2-40B4-BE49-F238E27FC236}">
                <a16:creationId xmlns:a16="http://schemas.microsoft.com/office/drawing/2014/main" id="{44290B7D-0CE3-45D0-C5BA-FDAEA78972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775"/>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4205267-F346-88D7-013B-D74080D11513}"/>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363911F2-DB49-B978-34E2-BD93B774BB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6560"/>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52AFA0BA-D03C-62EE-CEA6-8630FF69FB81}"/>
              </a:ext>
            </a:extLst>
          </p:cNvPr>
          <p:cNvPicPr/>
          <p:nvPr/>
        </p:nvPicPr>
        <p:blipFill>
          <a:blip r:embed="rId2"/>
          <a:stretch>
            <a:fillRect/>
          </a:stretch>
        </p:blipFill>
        <p:spPr>
          <a:xfrm>
            <a:off x="152400" y="1783082"/>
            <a:ext cx="5295900" cy="3787531"/>
          </a:xfrm>
          <a:prstGeom prst="rect">
            <a:avLst/>
          </a:prstGeom>
        </p:spPr>
      </p:pic>
      <p:pic>
        <p:nvPicPr>
          <p:cNvPr id="7" name="Picture 6" descr="Diagram&#10;&#10;Description automatically generated">
            <a:extLst>
              <a:ext uri="{FF2B5EF4-FFF2-40B4-BE49-F238E27FC236}">
                <a16:creationId xmlns:a16="http://schemas.microsoft.com/office/drawing/2014/main" id="{739EA9EC-3750-33E1-5140-711C2BEE9F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4350"/>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931CC74A-AE20-49CD-A6E9-0D3339324C10}"/>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B8D6BCFC-94B0-9B27-EF49-523E2F3769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775"/>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49A653A9-3E0B-A235-EBE1-4743C0183B3A}"/>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2FFD423F-EFD8-8D73-225E-0941B6E3CAF4}"/>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686EB27F-70D1-8303-A3F9-50801EC6CF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7911"/>
            <a:ext cx="6400801" cy="4526373"/>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1DBEF9E2-A9EF-E9F9-516E-1356BFD10E2B}"/>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A658095-7237-9128-7B7D-9155187F0D46}"/>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5777879-4C32-664E-77CD-0DB2AA22D6AB}"/>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2131773"/>
            <a:ext cx="1198148" cy="2294485"/>
            <a:chOff x="2775759" y="2197525"/>
            <a:chExt cx="1198148" cy="2294485"/>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91440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21975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2197525"/>
              <a:ext cx="0" cy="71688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806958"/>
              <a:ext cx="0" cy="68505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45449" y="1750024"/>
            <a:ext cx="1198148" cy="1832180"/>
            <a:chOff x="10485745" y="2390866"/>
            <a:chExt cx="1198148" cy="1832180"/>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91451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39086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390866"/>
              <a:ext cx="0" cy="5236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807067"/>
              <a:ext cx="0" cy="41597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2343797"/>
            <a:ext cx="1198148" cy="2025727"/>
            <a:chOff x="2775759" y="2466283"/>
            <a:chExt cx="1198148" cy="2025727"/>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8880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4662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466283"/>
              <a:ext cx="0" cy="5225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69640" y="1817356"/>
            <a:ext cx="1198148" cy="2008308"/>
            <a:chOff x="2775759" y="2536499"/>
            <a:chExt cx="1198148" cy="200830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8285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364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36499"/>
              <a:ext cx="0" cy="54635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75410"/>
              <a:ext cx="0" cy="5693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78C9C9C7-6DFA-ED15-4704-2DD2F55E4927}"/>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7EF1413B-31C0-79A8-91BA-A29EE71CBB11}"/>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E489128-467A-ED77-EEFA-093378BFA5CE}"/>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D7A6BD7A-7CC5-2BB5-9BD9-CCC4B980E515}"/>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9C139A3-9484-3F4B-8D47-5270A8C8FB8F}"/>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04F2576-513D-3D7C-AB4A-823138157A2F}"/>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8A34C66B-B45A-3ADD-6BA0-84BDB99B8831}"/>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AF5065C8-2AF3-65A8-F14A-95E790F4BD6B}"/>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70</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81</cp:revision>
  <dcterms:created xsi:type="dcterms:W3CDTF">2022-07-04T13:32:28Z</dcterms:created>
  <dcterms:modified xsi:type="dcterms:W3CDTF">2023-03-16T23:12:13Z</dcterms:modified>
</cp:coreProperties>
</file>